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28" r:id="rId1"/>
  </p:sldMasterIdLst>
  <p:notesMasterIdLst>
    <p:notesMasterId r:id="rId15"/>
  </p:notesMasterIdLst>
  <p:handoutMasterIdLst>
    <p:handoutMasterId r:id="rId16"/>
  </p:handoutMasterIdLst>
  <p:sldIdLst>
    <p:sldId id="684" r:id="rId2"/>
    <p:sldId id="685" r:id="rId3"/>
    <p:sldId id="686" r:id="rId4"/>
    <p:sldId id="687" r:id="rId5"/>
    <p:sldId id="688" r:id="rId6"/>
    <p:sldId id="696" r:id="rId7"/>
    <p:sldId id="695" r:id="rId8"/>
    <p:sldId id="689" r:id="rId9"/>
    <p:sldId id="692" r:id="rId10"/>
    <p:sldId id="694" r:id="rId11"/>
    <p:sldId id="693" r:id="rId12"/>
    <p:sldId id="690" r:id="rId13"/>
    <p:sldId id="691" r:id="rId14"/>
  </p:sldIdLst>
  <p:sldSz cx="9144000" cy="5143500" type="screen16x9"/>
  <p:notesSz cx="6805613" cy="9939338"/>
  <p:custDataLst>
    <p:tags r:id="rId17"/>
  </p:custDataLst>
  <p:defaultTextStyle>
    <a:defPPr>
      <a:defRPr lang="en-US"/>
    </a:defPPr>
    <a:lvl1pPr marL="0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46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19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91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65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37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10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83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Presentation" id="{1546AF60-B8B5-BD40-A707-607F99CD03F5}">
          <p14:sldIdLst>
            <p14:sldId id="684"/>
            <p14:sldId id="685"/>
            <p14:sldId id="686"/>
            <p14:sldId id="687"/>
            <p14:sldId id="688"/>
            <p14:sldId id="696"/>
            <p14:sldId id="695"/>
            <p14:sldId id="689"/>
            <p14:sldId id="692"/>
            <p14:sldId id="694"/>
            <p14:sldId id="693"/>
            <p14:sldId id="690"/>
            <p14:sldId id="691"/>
          </p14:sldIdLst>
        </p14:section>
        <p14:section name="Template" id="{DE814E5A-073F-4E4F-A210-230B0EC1B855}">
          <p14:sldIdLst/>
        </p14:section>
        <p14:section name="Assets" id="{0553DC1D-66F4-0B4D-BA47-FF773463D68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D6D"/>
    <a:srgbClr val="A0A0A0"/>
    <a:srgbClr val="F2D9E9"/>
    <a:srgbClr val="0081C7"/>
    <a:srgbClr val="D6D6D6"/>
    <a:srgbClr val="E10098"/>
    <a:srgbClr val="90276C"/>
    <a:srgbClr val="8C8B8B"/>
    <a:srgbClr val="868585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049" autoAdjust="0"/>
    <p:restoredTop sz="96341" autoAdjust="0"/>
  </p:normalViewPr>
  <p:slideViewPr>
    <p:cSldViewPr showGuides="1">
      <p:cViewPr varScale="1">
        <p:scale>
          <a:sx n="152" d="100"/>
          <a:sy n="152" d="100"/>
        </p:scale>
        <p:origin x="208" y="72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258" y="3295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824"/>
    </p:cViewPr>
  </p:sorterViewPr>
  <p:notesViewPr>
    <p:cSldViewPr showGuides="1">
      <p:cViewPr varScale="1">
        <p:scale>
          <a:sx n="77" d="100"/>
          <a:sy n="77" d="100"/>
        </p:scale>
        <p:origin x="-3978" y="-96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3" y="2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/>
          <a:lstStyle>
            <a:lvl1pPr algn="l">
              <a:defRPr sz="1400"/>
            </a:lvl1pPr>
          </a:lstStyle>
          <a:p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3854943" y="2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/>
          <a:lstStyle>
            <a:lvl1pPr algn="r">
              <a:defRPr sz="1400"/>
            </a:lvl1pPr>
          </a:lstStyle>
          <a:p>
            <a:fld id="{C84ABD84-B427-486C-B91D-F8364DDF0A46}" type="datetimeFigureOut">
              <a:rPr lang="en-US" smtClean="0">
                <a:latin typeface="AdihausDIN" panose="020B0506020101010102" pitchFamily="34" charset="0"/>
              </a:rPr>
              <a:t>6/21/19</a:t>
            </a:fld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3" y="9440648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 anchor="b"/>
          <a:lstStyle>
            <a:lvl1pPr algn="l">
              <a:defRPr sz="1400"/>
            </a:lvl1pPr>
          </a:lstStyle>
          <a:p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3854943" y="9440648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 anchor="b"/>
          <a:lstStyle>
            <a:lvl1pPr algn="r">
              <a:defRPr sz="1400"/>
            </a:lvl1pPr>
          </a:lstStyle>
          <a:p>
            <a:fld id="{B04F07B2-80B6-43CA-AA4A-473635943C69}" type="slidenum">
              <a:rPr lang="en-US" smtClean="0">
                <a:latin typeface="AdihausDIN" panose="020B0506020101010102" pitchFamily="34" charset="0"/>
              </a:rPr>
              <a:t>‹#›</a:t>
            </a:fld>
            <a:endParaRPr lang="en-US" dirty="0">
              <a:latin typeface="AdihausDI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18961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76225" y="434975"/>
            <a:ext cx="6249988" cy="3516313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3523" y="4304426"/>
            <a:ext cx="4124128" cy="534969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4783107" y="2"/>
            <a:ext cx="1707932" cy="179428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00" b="1" dirty="0">
                <a:solidFill>
                  <a:schemeClr val="bg1"/>
                </a:solidFill>
                <a:latin typeface="AdihausDIN" panose="020B0506020101010102" pitchFamily="34" charset="0"/>
              </a:rPr>
              <a:t>Presentation </a:t>
            </a:r>
            <a:r>
              <a:rPr lang="en-US" sz="500" b="1" dirty="0" err="1">
                <a:solidFill>
                  <a:schemeClr val="bg1"/>
                </a:solidFill>
                <a:latin typeface="AdihausDIN" panose="020B0506020101010102" pitchFamily="34" charset="0"/>
              </a:rPr>
              <a:t>handout</a:t>
            </a:r>
            <a:r>
              <a:rPr lang="en-US" sz="500" b="1" dirty="0">
                <a:solidFill>
                  <a:schemeClr val="bg1"/>
                </a:solidFill>
                <a:latin typeface="AdihausDIN" panose="020B0506020101010102" pitchFamily="34" charset="0"/>
              </a:rPr>
              <a:t>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04" y="4638782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04" y="497313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04" y="5307493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04" y="5641850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04" y="597620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04" y="6310563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04" y="6644918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04" y="697927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04" y="7313629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04" y="764798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04" y="7982342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04" y="8316697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04" y="865105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04" y="8985410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04" y="9319765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04" y="965412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 bwMode="gray">
          <a:xfrm>
            <a:off x="4783104" y="4304425"/>
            <a:ext cx="1707492" cy="208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AdihausDIN" panose="020B0506020101010102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741765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346" rtl="0" eaLnBrk="1" latinLnBrk="0" hangingPunct="1">
      <a:lnSpc>
        <a:spcPct val="110000"/>
      </a:lnSpc>
      <a:buSzPct val="90000"/>
      <a:buFont typeface="Wingdings" pitchFamily="2" charset="2"/>
      <a:buNone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1pPr>
    <a:lvl2pPr marL="107993" indent="-107993" algn="l" defTabSz="914346" rtl="0" eaLnBrk="1" latinLnBrk="0" hangingPunct="1">
      <a:lnSpc>
        <a:spcPct val="110000"/>
      </a:lnSpc>
      <a:buSzPct val="90000"/>
      <a:buFont typeface="Wingdings" pitchFamily="2" charset="2"/>
      <a:buChar char="§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2pPr>
    <a:lvl3pPr marL="107993" indent="-107993" algn="l" defTabSz="914346" rtl="0" eaLnBrk="1" latinLnBrk="0" hangingPunct="1">
      <a:lnSpc>
        <a:spcPct val="110000"/>
      </a:lnSpc>
      <a:buSzPct val="90000"/>
      <a:buFont typeface="Symbol" pitchFamily="18" charset="2"/>
      <a:buChar char="-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3pPr>
    <a:lvl4pPr marL="107993" indent="-107993" algn="l" defTabSz="914346" rtl="0" eaLnBrk="1" latinLnBrk="0" hangingPunct="1">
      <a:lnSpc>
        <a:spcPct val="110000"/>
      </a:lnSpc>
      <a:buSzPct val="90000"/>
      <a:buFont typeface="+mj-lt"/>
      <a:buAutoNum type="arabicPeriod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4pPr>
    <a:lvl5pPr marL="215987" indent="-107993" algn="l" defTabSz="914346" rtl="0" eaLnBrk="1" latinLnBrk="0" hangingPunct="1">
      <a:lnSpc>
        <a:spcPct val="110000"/>
      </a:lnSpc>
      <a:buSzPct val="90000"/>
      <a:buFont typeface="+mj-lt"/>
      <a:buAutoNum type="arabicPeriod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5pPr>
    <a:lvl6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microsoft.com/office/2007/relationships/hdphoto" Target="NUL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NULL"/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-1" y="4732338"/>
            <a:ext cx="3059114" cy="411162"/>
          </a:xfrm>
          <a:prstGeom prst="rect">
            <a:avLst/>
          </a:prstGeom>
          <a:solidFill>
            <a:schemeClr val="bg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sz="1400" cap="all" dirty="0">
              <a:latin typeface="+mj-lt"/>
              <a:cs typeface="AdihausDIN" panose="020B0504020101020102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359532" y="842964"/>
            <a:ext cx="5004556" cy="2608954"/>
          </a:xfrm>
          <a:prstGeom prst="rect">
            <a:avLst/>
          </a:prstGeom>
          <a:solidFill>
            <a:srgbClr val="2CD5C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54" tIns="72554" rIns="72554" bIns="725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cap="all" dirty="0">
              <a:solidFill>
                <a:srgbClr val="2CD5C4"/>
              </a:solidFill>
              <a:latin typeface="+mj-lt"/>
              <a:cs typeface="AdihausDIN" panose="020B0504020101020102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178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0020" y="1921195"/>
            <a:ext cx="4644048" cy="1047267"/>
          </a:xfrm>
          <a:prstGeom prst="rect">
            <a:avLst/>
          </a:prstGeom>
        </p:spPr>
        <p:txBody>
          <a:bodyPr bIns="35998" anchor="b">
            <a:spAutoFit/>
          </a:bodyPr>
          <a:lstStyle>
            <a:lvl1pPr>
              <a:lnSpc>
                <a:spcPct val="67000"/>
              </a:lnSpc>
              <a:tabLst/>
              <a:defRPr sz="4800" spc="-30" baseline="0">
                <a:solidFill>
                  <a:schemeClr val="bg1"/>
                </a:solidFill>
              </a:defRPr>
            </a:lvl1pPr>
            <a:lvl2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2pPr>
            <a:lvl3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3pPr>
            <a:lvl4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4pPr>
            <a:lvl5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5pPr>
            <a:lvl6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6pPr>
            <a:lvl7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7pPr>
            <a:lvl8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8pPr>
            <a:lvl9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itle of the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20" y="2968414"/>
            <a:ext cx="4644048" cy="24744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07"/>
              </a:spcAft>
              <a:buNone/>
              <a:defRPr sz="2400" cap="all" spc="0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01" y="4876277"/>
            <a:ext cx="1514699" cy="12328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009219" y="4732338"/>
            <a:ext cx="2556283" cy="411162"/>
          </a:xfrm>
          <a:prstGeom prst="rect">
            <a:avLst/>
          </a:prstGeom>
        </p:spPr>
        <p:txBody>
          <a:bodyPr bIns="10800" anchor="ctr">
            <a:noAutofit/>
          </a:bodyPr>
          <a:lstStyle>
            <a:lvl1pPr marL="40050" indent="0">
              <a:lnSpc>
                <a:spcPct val="100000"/>
              </a:lnSpc>
              <a:buNone/>
              <a:defRPr sz="1350" cap="all" baseline="0">
                <a:latin typeface="+mn-lt"/>
              </a:defRPr>
            </a:lvl1pPr>
          </a:lstStyle>
          <a:p>
            <a:pPr lvl="0"/>
            <a:r>
              <a:rPr lang="en-US" dirty="0"/>
              <a:t>DD Month YYYY</a:t>
            </a:r>
          </a:p>
        </p:txBody>
      </p:sp>
      <p:sp>
        <p:nvSpPr>
          <p:cNvPr id="11" name="Freeform 10"/>
          <p:cNvSpPr/>
          <p:nvPr userDrawn="1"/>
        </p:nvSpPr>
        <p:spPr bwMode="gray">
          <a:xfrm>
            <a:off x="1943708" y="4862279"/>
            <a:ext cx="0" cy="151280"/>
          </a:xfrm>
          <a:custGeom>
            <a:avLst/>
            <a:gdLst>
              <a:gd name="connsiteX0" fmla="*/ 0 w 0"/>
              <a:gd name="connsiteY0" fmla="*/ 0 h 151280"/>
              <a:gd name="connsiteX1" fmla="*/ 0 w 0"/>
              <a:gd name="connsiteY1" fmla="*/ 151280 h 1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1280">
                <a:moveTo>
                  <a:pt x="0" y="0"/>
                </a:moveTo>
                <a:lnTo>
                  <a:pt x="0" y="151280"/>
                </a:lnTo>
              </a:path>
            </a:pathLst>
          </a:custGeom>
          <a:noFill/>
          <a:ln w="12700" cap="sq">
            <a:solidFill>
              <a:schemeClr val="tx1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280" y="2273215"/>
            <a:ext cx="2159552" cy="597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463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tabLst>
                <a:tab pos="2393950" algn="l"/>
              </a:tabLst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923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0020" y="1921195"/>
            <a:ext cx="4644048" cy="1047267"/>
          </a:xfrm>
          <a:prstGeom prst="rect">
            <a:avLst/>
          </a:prstGeom>
        </p:spPr>
        <p:txBody>
          <a:bodyPr bIns="35998" anchor="b">
            <a:spAutoFit/>
          </a:bodyPr>
          <a:lstStyle>
            <a:lvl1pPr>
              <a:lnSpc>
                <a:spcPct val="67000"/>
              </a:lnSpc>
              <a:tabLst/>
              <a:defRPr sz="4800" spc="-30" baseline="0">
                <a:solidFill>
                  <a:schemeClr val="bg1"/>
                </a:solidFill>
              </a:defRPr>
            </a:lvl1pPr>
            <a:lvl2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2pPr>
            <a:lvl3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3pPr>
            <a:lvl4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4pPr>
            <a:lvl5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5pPr>
            <a:lvl6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6pPr>
            <a:lvl7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7pPr>
            <a:lvl8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8pPr>
            <a:lvl9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itle of the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20" y="2968414"/>
            <a:ext cx="4644048" cy="24744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07"/>
              </a:spcAft>
              <a:buNone/>
              <a:defRPr sz="2400" cap="all" spc="0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01" y="4876277"/>
            <a:ext cx="1514699" cy="123285"/>
          </a:xfrm>
          <a:prstGeom prst="rect">
            <a:avLst/>
          </a:prstGeom>
        </p:spPr>
      </p:pic>
      <p:sp>
        <p:nvSpPr>
          <p:cNvPr id="15" name="Freeform 14"/>
          <p:cNvSpPr/>
          <p:nvPr userDrawn="1"/>
        </p:nvSpPr>
        <p:spPr bwMode="gray">
          <a:xfrm>
            <a:off x="1943708" y="4862279"/>
            <a:ext cx="0" cy="151280"/>
          </a:xfrm>
          <a:custGeom>
            <a:avLst/>
            <a:gdLst>
              <a:gd name="connsiteX0" fmla="*/ 0 w 0"/>
              <a:gd name="connsiteY0" fmla="*/ 0 h 151280"/>
              <a:gd name="connsiteX1" fmla="*/ 0 w 0"/>
              <a:gd name="connsiteY1" fmla="*/ 151280 h 1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1280">
                <a:moveTo>
                  <a:pt x="0" y="0"/>
                </a:moveTo>
                <a:lnTo>
                  <a:pt x="0" y="151280"/>
                </a:lnTo>
              </a:path>
            </a:pathLst>
          </a:custGeom>
          <a:noFill/>
          <a:ln w="12700" cap="sq">
            <a:solidFill>
              <a:schemeClr val="bg1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009219" y="4732338"/>
            <a:ext cx="2556283" cy="411162"/>
          </a:xfrm>
          <a:prstGeom prst="rect">
            <a:avLst/>
          </a:prstGeom>
        </p:spPr>
        <p:txBody>
          <a:bodyPr bIns="10800" anchor="ctr">
            <a:noAutofit/>
          </a:bodyPr>
          <a:lstStyle>
            <a:lvl1pPr marL="40050" indent="0">
              <a:lnSpc>
                <a:spcPct val="100000"/>
              </a:lnSpc>
              <a:buNone/>
              <a:defRPr sz="135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DD Month YYY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8775" y="842963"/>
            <a:ext cx="3277121" cy="3457576"/>
          </a:xfrm>
          <a:prstGeom prst="rect">
            <a:avLst/>
          </a:prstGeom>
        </p:spPr>
        <p:txBody>
          <a:bodyPr rIns="0" bIns="0" anchor="ctr" anchorCtr="0"/>
          <a:lstStyle>
            <a:lvl1pPr algn="ctr">
              <a:defRPr sz="4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4319972" y="843757"/>
            <a:ext cx="4366828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800" b="0" i="0" cap="all" baseline="0">
                <a:solidFill>
                  <a:schemeClr val="tx1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 flipV="1">
            <a:off x="3923928" y="864161"/>
            <a:ext cx="1" cy="341518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8776" y="842963"/>
            <a:ext cx="2700338" cy="3457576"/>
          </a:xfrm>
          <a:prstGeom prst="rect">
            <a:avLst/>
          </a:prstGeom>
        </p:spPr>
        <p:txBody>
          <a:bodyPr rIns="0" bIns="0" anchor="ctr" anchorCtr="0"/>
          <a:lstStyle>
            <a:lvl1pPr algn="ctr">
              <a:defRPr sz="4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3383868" y="843757"/>
            <a:ext cx="5401356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400" b="0" i="0" cap="none" baseline="0">
                <a:solidFill>
                  <a:schemeClr val="tx1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EA00DE-30B2-CA4E-86C6-D016479668A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842963"/>
            <a:ext cx="2094157" cy="3457576"/>
          </a:xfrm>
          <a:prstGeom prst="rect">
            <a:avLst/>
          </a:prstGeom>
        </p:spPr>
        <p:txBody>
          <a:bodyPr tIns="180000" rIns="0" bIns="0" anchor="ctr" anchorCtr="0"/>
          <a:lstStyle>
            <a:lvl1pPr algn="r">
              <a:defRPr sz="7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#</a:t>
            </a: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3383868" y="843757"/>
            <a:ext cx="5401356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4000" b="0" i="0" cap="all" baseline="0">
                <a:solidFill>
                  <a:schemeClr val="tx1"/>
                </a:solidFill>
                <a:latin typeface="+mn-lt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 flipV="1">
            <a:off x="2918400" y="1976793"/>
            <a:ext cx="1" cy="1196999"/>
          </a:xfrm>
          <a:prstGeom prst="line">
            <a:avLst/>
          </a:prstGeom>
          <a:ln w="38100">
            <a:solidFill>
              <a:srgbClr val="2CD5C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303214"/>
            <a:ext cx="8421688" cy="5397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61951" y="1058863"/>
            <a:ext cx="8418512" cy="3652814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1pPr>
            <a:lvl2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2pPr>
            <a:lvl3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3pPr>
            <a:lvl4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4pPr>
            <a:lvl5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/>
          <a:lstStyle/>
          <a:p>
            <a:fld id="{D136C6D1-1D7D-45E1-A7D6-44C33DC01A23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2661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6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/>
          <a:lstStyle/>
          <a:p>
            <a:fld id="{D136C6D1-1D7D-45E1-A7D6-44C33DC01A2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346" rtl="0" eaLnBrk="1" latinLnBrk="0" hangingPunct="1">
              <a:defRPr sz="800" b="1" i="0" kern="1200">
                <a:solidFill>
                  <a:srgbClr val="8C8B8B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 marL="457173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6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19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1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5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37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0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3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36C6D1-1D7D-45E1-A7D6-44C33DC01A2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Placeholder 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957" b="39957"/>
          <a:stretch>
            <a:fillRect/>
          </a:stretch>
        </p:blipFill>
        <p:spPr>
          <a:xfrm>
            <a:off x="0" y="1"/>
            <a:ext cx="9144000" cy="971550"/>
          </a:xfrm>
          <a:prstGeom prst="rect">
            <a:avLst/>
          </a:prstGeom>
        </p:spPr>
      </p:pic>
      <p:pic>
        <p:nvPicPr>
          <p:cNvPr id="9" name="Bild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285" y="213906"/>
            <a:ext cx="2112852" cy="77480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2301966"/>
            <a:ext cx="4213224" cy="1133383"/>
          </a:xfrm>
        </p:spPr>
        <p:txBody>
          <a:bodyPr anchor="ctr"/>
          <a:lstStyle>
            <a:lvl1pPr>
              <a:defRPr b="1" i="0" baseline="0"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marL="220050" marR="0" lvl="0" indent="-180000" algn="l" defTabSz="7200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" charset="2"/>
              <a:buNone/>
              <a:tabLst>
                <a:tab pos="360000" algn="l"/>
                <a:tab pos="720000" algn="l"/>
                <a:tab pos="1080000" algn="l"/>
                <a:tab pos="1440000" algn="l"/>
                <a:tab pos="1800000" algn="l"/>
                <a:tab pos="2160000" algn="l"/>
                <a:tab pos="2520000" algn="l"/>
                <a:tab pos="2880000" algn="l"/>
                <a:tab pos="3240000" algn="l"/>
              </a:tabLst>
              <a:defRPr/>
            </a:pPr>
            <a:r>
              <a:rPr lang="en-US" dirty="0"/>
              <a:t>John Do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0220" y="1143350"/>
            <a:ext cx="7430189" cy="34284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444644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NUL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64" y="4906545"/>
            <a:ext cx="401094" cy="92534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61736601"/>
              </p:ext>
            </p:extLst>
          </p:nvPr>
        </p:nvGraphicFramePr>
        <p:xfrm>
          <a:off x="1601" y="1600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01" y="1600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-88908" y="-92546"/>
            <a:ext cx="9341424" cy="5327687"/>
            <a:chOff x="-88908" y="-92546"/>
            <a:chExt cx="9341424" cy="5327687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1547813" y="-92546"/>
              <a:ext cx="0" cy="5326781"/>
              <a:chOff x="1522293" y="-92546"/>
              <a:chExt cx="0" cy="5326781"/>
            </a:xfrm>
          </p:grpSpPr>
          <p:cxnSp>
            <p:nvCxnSpPr>
              <p:cNvPr id="253" name="Straight Connector 252"/>
              <p:cNvCxnSpPr/>
              <p:nvPr userDrawn="1"/>
            </p:nvCxnSpPr>
            <p:spPr bwMode="gray">
              <a:xfrm flipV="1">
                <a:off x="1522293" y="5198235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/>
              <p:cNvCxnSpPr/>
              <p:nvPr/>
            </p:nvCxnSpPr>
            <p:spPr bwMode="gray">
              <a:xfrm flipV="1">
                <a:off x="1522293" y="-92546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5" name="Group 254"/>
            <p:cNvGrpSpPr/>
            <p:nvPr userDrawn="1"/>
          </p:nvGrpSpPr>
          <p:grpSpPr>
            <a:xfrm>
              <a:off x="-88908" y="303213"/>
              <a:ext cx="9341424" cy="0"/>
              <a:chOff x="-88214" y="428625"/>
              <a:chExt cx="9268445" cy="0"/>
            </a:xfrm>
          </p:grpSpPr>
          <p:cxnSp>
            <p:nvCxnSpPr>
              <p:cNvPr id="256" name="Straight Connector 255"/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/>
              <p:cNvCxnSpPr/>
              <p:nvPr userDrawn="1"/>
            </p:nvCxnSpPr>
            <p:spPr bwMode="gray">
              <a:xfrm flipH="1">
                <a:off x="9144512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/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 userDrawn="1"/>
            </p:nvCxnSpPr>
            <p:spPr bwMode="gray">
              <a:xfrm flipH="1">
                <a:off x="9144512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0" name="Group 259"/>
            <p:cNvGrpSpPr/>
            <p:nvPr userDrawn="1"/>
          </p:nvGrpSpPr>
          <p:grpSpPr>
            <a:xfrm>
              <a:off x="358775" y="-92546"/>
              <a:ext cx="0" cy="5326781"/>
              <a:chOff x="1746825" y="-56409"/>
              <a:chExt cx="0" cy="5287323"/>
            </a:xfrm>
          </p:grpSpPr>
          <p:cxnSp>
            <p:nvCxnSpPr>
              <p:cNvPr id="261" name="Straight Connector 260"/>
              <p:cNvCxnSpPr/>
              <p:nvPr userDrawn="1"/>
            </p:nvCxnSpPr>
            <p:spPr bwMode="gray">
              <a:xfrm flipV="1">
                <a:off x="1746825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/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3" name="Group 262"/>
            <p:cNvGrpSpPr/>
            <p:nvPr userDrawn="1"/>
          </p:nvGrpSpPr>
          <p:grpSpPr>
            <a:xfrm>
              <a:off x="3057902" y="-92546"/>
              <a:ext cx="2673" cy="5326781"/>
              <a:chOff x="3140041" y="-56409"/>
              <a:chExt cx="2652" cy="5287323"/>
            </a:xfrm>
          </p:grpSpPr>
          <p:cxnSp>
            <p:nvCxnSpPr>
              <p:cNvPr id="264" name="Straight Connector 263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Straight Connector 264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Straight Connector 265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Straight Connector 266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 userDrawn="1"/>
          </p:nvGrpSpPr>
          <p:grpSpPr>
            <a:xfrm>
              <a:off x="7596188" y="-92546"/>
              <a:ext cx="0" cy="5326781"/>
              <a:chOff x="7619200" y="-56830"/>
              <a:chExt cx="0" cy="5326781"/>
            </a:xfrm>
          </p:grpSpPr>
          <p:cxnSp>
            <p:nvCxnSpPr>
              <p:cNvPr id="269" name="Straight Connector 268"/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/>
              <p:cNvCxnSpPr/>
              <p:nvPr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/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2" name="Straight Connector 271"/>
              <p:cNvCxnSpPr/>
              <p:nvPr userDrawn="1"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3" name="Group 272"/>
            <p:cNvGrpSpPr/>
            <p:nvPr userDrawn="1"/>
          </p:nvGrpSpPr>
          <p:grpSpPr>
            <a:xfrm>
              <a:off x="4570664" y="-91640"/>
              <a:ext cx="2673" cy="5326781"/>
              <a:chOff x="3140041" y="-56409"/>
              <a:chExt cx="2652" cy="5287323"/>
            </a:xfrm>
          </p:grpSpPr>
          <p:cxnSp>
            <p:nvCxnSpPr>
              <p:cNvPr id="274" name="Straight Connector 273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Straight Connector 274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Straight Connector 276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8" name="Group 277"/>
            <p:cNvGrpSpPr/>
            <p:nvPr userDrawn="1"/>
          </p:nvGrpSpPr>
          <p:grpSpPr>
            <a:xfrm>
              <a:off x="6083426" y="-92546"/>
              <a:ext cx="2673" cy="5326781"/>
              <a:chOff x="3140041" y="-56409"/>
              <a:chExt cx="2652" cy="5287323"/>
            </a:xfrm>
          </p:grpSpPr>
          <p:cxnSp>
            <p:nvCxnSpPr>
              <p:cNvPr id="279" name="Straight Connector 278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Straight Connector 279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1" name="Straight Connector 280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Straight Connector 281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3" name="Group 282"/>
            <p:cNvGrpSpPr/>
            <p:nvPr userDrawn="1"/>
          </p:nvGrpSpPr>
          <p:grpSpPr>
            <a:xfrm>
              <a:off x="8785225" y="-91640"/>
              <a:ext cx="0" cy="5326781"/>
              <a:chOff x="1746825" y="-56409"/>
              <a:chExt cx="0" cy="5287323"/>
            </a:xfrm>
          </p:grpSpPr>
          <p:cxnSp>
            <p:nvCxnSpPr>
              <p:cNvPr id="284" name="Straight Connector 283"/>
              <p:cNvCxnSpPr/>
              <p:nvPr userDrawn="1"/>
            </p:nvCxnSpPr>
            <p:spPr bwMode="gray">
              <a:xfrm flipV="1">
                <a:off x="1746825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5" name="Straight Connector 284"/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6" name="Group 285"/>
            <p:cNvGrpSpPr/>
            <p:nvPr userDrawn="1"/>
          </p:nvGrpSpPr>
          <p:grpSpPr>
            <a:xfrm>
              <a:off x="-88908" y="842963"/>
              <a:ext cx="9341424" cy="0"/>
              <a:chOff x="-88214" y="406099"/>
              <a:chExt cx="9268445" cy="0"/>
            </a:xfrm>
          </p:grpSpPr>
          <p:cxnSp>
            <p:nvCxnSpPr>
              <p:cNvPr id="287" name="Straight Connector 28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8" name="Straight Connector 28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Straight Connector 28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0" name="Straight Connector 28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1" name="Group 290"/>
            <p:cNvGrpSpPr/>
            <p:nvPr userDrawn="1"/>
          </p:nvGrpSpPr>
          <p:grpSpPr>
            <a:xfrm>
              <a:off x="-88908" y="1707357"/>
              <a:ext cx="9341424" cy="0"/>
              <a:chOff x="-88214" y="406099"/>
              <a:chExt cx="9268445" cy="0"/>
            </a:xfrm>
          </p:grpSpPr>
          <p:cxnSp>
            <p:nvCxnSpPr>
              <p:cNvPr id="292" name="Straight Connector 29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3" name="Straight Connector 29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Straight Connector 293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Straight Connector 294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6" name="Group 295"/>
            <p:cNvGrpSpPr/>
            <p:nvPr userDrawn="1"/>
          </p:nvGrpSpPr>
          <p:grpSpPr>
            <a:xfrm>
              <a:off x="-88908" y="3436145"/>
              <a:ext cx="9341424" cy="0"/>
              <a:chOff x="-88214" y="406099"/>
              <a:chExt cx="9268445" cy="0"/>
            </a:xfrm>
          </p:grpSpPr>
          <p:cxnSp>
            <p:nvCxnSpPr>
              <p:cNvPr id="297" name="Straight Connector 29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Straight Connector 29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9" name="Straight Connector 29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0" name="Straight Connector 29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1" name="Group 300"/>
            <p:cNvGrpSpPr/>
            <p:nvPr userDrawn="1"/>
          </p:nvGrpSpPr>
          <p:grpSpPr>
            <a:xfrm>
              <a:off x="-88908" y="4300538"/>
              <a:ext cx="9341424" cy="0"/>
              <a:chOff x="-88214" y="406099"/>
              <a:chExt cx="9268445" cy="0"/>
            </a:xfrm>
          </p:grpSpPr>
          <p:cxnSp>
            <p:nvCxnSpPr>
              <p:cNvPr id="302" name="Straight Connector 30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Straight Connector 30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Straight Connector 303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5" name="Straight Connector 304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6" name="Group 305"/>
            <p:cNvGrpSpPr/>
            <p:nvPr userDrawn="1"/>
          </p:nvGrpSpPr>
          <p:grpSpPr>
            <a:xfrm>
              <a:off x="-88908" y="2571751"/>
              <a:ext cx="9341424" cy="0"/>
              <a:chOff x="-88214" y="406099"/>
              <a:chExt cx="9268445" cy="0"/>
            </a:xfrm>
          </p:grpSpPr>
          <p:cxnSp>
            <p:nvCxnSpPr>
              <p:cNvPr id="307" name="Straight Connector 30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8" name="Straight Connector 30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9" name="Straight Connector 30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Straight Connector 30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1" name="Group 310"/>
            <p:cNvGrpSpPr/>
            <p:nvPr userDrawn="1"/>
          </p:nvGrpSpPr>
          <p:grpSpPr>
            <a:xfrm>
              <a:off x="-88908" y="4732338"/>
              <a:ext cx="9341424" cy="0"/>
              <a:chOff x="-88214" y="406099"/>
              <a:chExt cx="9268445" cy="0"/>
            </a:xfrm>
          </p:grpSpPr>
          <p:cxnSp>
            <p:nvCxnSpPr>
              <p:cNvPr id="312" name="Straight Connector 31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Straight Connector 31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" name="Straight Connector 313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596187" y="4732338"/>
            <a:ext cx="1189037" cy="4111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i="0">
                <a:solidFill>
                  <a:srgbClr val="8C8B8B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fld id="{FEEA00DE-30B2-CA4E-86C6-D016479668A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358775" y="850824"/>
            <a:ext cx="8426449" cy="38815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  <a:p>
            <a:pPr lvl="5"/>
            <a:r>
              <a:rPr lang="en-US" dirty="0"/>
              <a:t>Level 6</a:t>
            </a:r>
          </a:p>
          <a:p>
            <a:pPr lvl="6"/>
            <a:r>
              <a:rPr lang="en-US" dirty="0"/>
              <a:t>Level 7</a:t>
            </a:r>
          </a:p>
          <a:p>
            <a:pPr lvl="7"/>
            <a:r>
              <a:rPr lang="en-US" dirty="0"/>
              <a:t>Level 8</a:t>
            </a:r>
          </a:p>
          <a:p>
            <a:pPr lvl="8"/>
            <a:r>
              <a:rPr lang="en-US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4290229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80" r:id="rId2"/>
    <p:sldLayoutId id="2147484078" r:id="rId3"/>
    <p:sldLayoutId id="2147484079" r:id="rId4"/>
    <p:sldLayoutId id="2147484081" r:id="rId5"/>
    <p:sldLayoutId id="2147484041" r:id="rId6"/>
    <p:sldLayoutId id="2147484084" r:id="rId7"/>
    <p:sldLayoutId id="2147484085" r:id="rId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46" rtl="0" eaLnBrk="1" latinLnBrk="0" hangingPunct="1">
        <a:lnSpc>
          <a:spcPct val="80000"/>
        </a:lnSpc>
        <a:spcBef>
          <a:spcPct val="0"/>
        </a:spcBef>
        <a:buClrTx/>
        <a:buNone/>
        <a:defRPr sz="1800" strike="noStrike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hangingPunct="1">
        <a:lnSpc>
          <a:spcPct val="80000"/>
        </a:lnSpc>
        <a:defRPr kern="1200" cap="all" spc="0" baseline="0">
          <a:solidFill>
            <a:sysClr val="windowText" lastClr="000000"/>
          </a:solidFill>
          <a:latin typeface="+mj-lt"/>
        </a:defRPr>
      </a:lvl2pPr>
      <a:lvl3pPr algn="l" rtl="0" eaLnBrk="1" hangingPunct="1">
        <a:lnSpc>
          <a:spcPct val="80000"/>
        </a:lnSpc>
        <a:defRPr kern="1200" cap="all" baseline="0">
          <a:latin typeface="+mj-lt"/>
        </a:defRPr>
      </a:lvl3pPr>
      <a:lvl4pPr algn="l" rtl="0" eaLnBrk="1" hangingPunct="1">
        <a:lnSpc>
          <a:spcPct val="80000"/>
        </a:lnSpc>
        <a:defRPr kern="1200" cap="all" baseline="0">
          <a:latin typeface="+mj-lt"/>
        </a:defRPr>
      </a:lvl4pPr>
      <a:lvl5pPr algn="l" rtl="0" eaLnBrk="1" hangingPunct="1">
        <a:lnSpc>
          <a:spcPct val="80000"/>
        </a:lnSpc>
        <a:defRPr kern="1200" cap="all" baseline="0">
          <a:latin typeface="+mj-lt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marL="220050" indent="-180000" algn="l" defTabSz="7200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360000" algn="l"/>
          <a:tab pos="720000" algn="l"/>
          <a:tab pos="1080000" algn="l"/>
          <a:tab pos="1440000" algn="l"/>
          <a:tab pos="1800000" algn="l"/>
          <a:tab pos="2160000" algn="l"/>
          <a:tab pos="2520000" algn="l"/>
          <a:tab pos="2880000" algn="l"/>
          <a:tab pos="3240000" algn="l"/>
        </a:tabLst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1pPr>
      <a:lvl2pPr marL="580050" indent="-180000" algn="l" defTabSz="10800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720000" algn="l"/>
          <a:tab pos="1080000" algn="l"/>
          <a:tab pos="1440000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2pPr>
      <a:lvl3pPr marL="94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Wingdings" charset="2"/>
        <a:buChar char="§"/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3pPr>
      <a:lvl4pPr marL="130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4pPr>
      <a:lvl5pPr marL="166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5pPr>
      <a:lvl6pPr marL="202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6pPr>
      <a:lvl7pPr marL="238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7pPr>
      <a:lvl8pPr marL="2740050" indent="-180000" algn="l" defTabSz="91434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/>
          <a:ea typeface="+mn-ea"/>
          <a:cs typeface="AdihausDIN"/>
        </a:defRPr>
      </a:lvl8pPr>
      <a:lvl9pPr marL="3051450" indent="-180000" algn="l" defTabSz="91434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/>
          <a:ea typeface="+mn-ea"/>
          <a:cs typeface="AdihausDIN"/>
        </a:defRPr>
      </a:lvl9pPr>
    </p:bodyStyle>
    <p:otherStyle>
      <a:defPPr>
        <a:defRPr lang="en-US"/>
      </a:defPPr>
      <a:lvl1pPr marL="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3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1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5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927" userDrawn="1">
          <p15:clr>
            <a:srgbClr val="F26B43"/>
          </p15:clr>
        </p15:guide>
        <p15:guide id="4" pos="3833" userDrawn="1">
          <p15:clr>
            <a:srgbClr val="F26B43"/>
          </p15:clr>
        </p15:guide>
        <p15:guide id="5" pos="4785" userDrawn="1">
          <p15:clr>
            <a:srgbClr val="F26B43"/>
          </p15:clr>
        </p15:guide>
        <p15:guide id="6" pos="975" userDrawn="1">
          <p15:clr>
            <a:srgbClr val="F26B43"/>
          </p15:clr>
        </p15:guide>
        <p15:guide id="7" pos="226" userDrawn="1">
          <p15:clr>
            <a:srgbClr val="F26B43"/>
          </p15:clr>
        </p15:guide>
        <p15:guide id="8" pos="5534" userDrawn="1">
          <p15:clr>
            <a:srgbClr val="F26B43"/>
          </p15:clr>
        </p15:guide>
        <p15:guide id="9" orient="horz" pos="1076" userDrawn="1">
          <p15:clr>
            <a:srgbClr val="F26B43"/>
          </p15:clr>
        </p15:guide>
        <p15:guide id="10" orient="horz" pos="2164" userDrawn="1">
          <p15:clr>
            <a:srgbClr val="F26B43"/>
          </p15:clr>
        </p15:guide>
        <p15:guide id="11" orient="horz" pos="2709" userDrawn="1">
          <p15:clr>
            <a:srgbClr val="F26B43"/>
          </p15:clr>
        </p15:guide>
        <p15:guide id="12" orient="horz" pos="531" userDrawn="1">
          <p15:clr>
            <a:srgbClr val="F26B43"/>
          </p15:clr>
        </p15:guide>
        <p15:guide id="13" orient="horz" pos="191" userDrawn="1">
          <p15:clr>
            <a:srgbClr val="F26B43"/>
          </p15:clr>
        </p15:guide>
        <p15:guide id="14" orient="horz" pos="2981" userDrawn="1">
          <p15:clr>
            <a:srgbClr val="F26B43"/>
          </p15:clr>
        </p15:guide>
        <p15:guide id="15" orient="horz" pos="31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optimizing overestima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400" dirty="0"/>
              <a:t>We don’t have a crystal ball</a:t>
            </a: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400" dirty="0"/>
              <a:t>We make predictions, with </a:t>
            </a:r>
            <a:r>
              <a:rPr lang="en-US" sz="1400" b="1" dirty="0"/>
              <a:t>uncertainty 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dirty="0"/>
              <a:t>We can quantify and should incorporate uncertainty</a:t>
            </a: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But we know underprediction is worse than overprediction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Margin &gt; cost</a:t>
            </a: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Should we buy what we predict? No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5393163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Framework extensions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skewed prediction distributions</a:t>
            </a:r>
            <a:br>
              <a:rPr lang="en-US" sz="2400" dirty="0">
                <a:solidFill>
                  <a:srgbClr val="C00000"/>
                </a:solidFill>
              </a:rPr>
            </a:br>
            <a:endParaRPr lang="en-US" sz="2400" dirty="0">
              <a:solidFill>
                <a:srgbClr val="C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2400" y="1047750"/>
            <a:ext cx="7860449" cy="4038600"/>
          </a:xfrm>
        </p:spPr>
        <p:txBody>
          <a:bodyPr numCol="2">
            <a:normAutofit/>
          </a:bodyPr>
          <a:lstStyle/>
          <a:p>
            <a:pPr>
              <a:lnSpc>
                <a:spcPct val="100000"/>
              </a:lnSpc>
              <a:buClr>
                <a:srgbClr val="C00000"/>
              </a:buClr>
            </a:pPr>
            <a:endParaRPr lang="en-US" sz="1400" dirty="0"/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Asymmetric/skewed distributions</a:t>
            </a:r>
          </a:p>
          <a:p>
            <a:pPr lvl="2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.g. marketing campaign – large potential upside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Distribution can capture increased upside; e.g. gamma</a:t>
            </a:r>
          </a:p>
          <a:p>
            <a:pPr lvl="2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Mean: 38000 units</a:t>
            </a:r>
          </a:p>
          <a:p>
            <a:pPr lvl="2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Optimal buy: 45700 units</a:t>
            </a:r>
          </a:p>
          <a:p>
            <a:pPr lvl="2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Virtually identical to ‘20% buffer’ approach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CF11AD-771F-0D4A-A279-AA243AB8B5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0" y="3163962"/>
            <a:ext cx="2795587" cy="18337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AFB3C1F-F761-4C44-8DEF-1D6DEEFFC9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00" y="842963"/>
            <a:ext cx="3589588" cy="231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667157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Framework extensions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integrative prediction distributions</a:t>
            </a:r>
            <a:br>
              <a:rPr lang="en-US" sz="2400" dirty="0">
                <a:solidFill>
                  <a:schemeClr val="accent6"/>
                </a:solidFill>
              </a:rPr>
            </a:b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971550"/>
            <a:ext cx="7430189" cy="4114800"/>
          </a:xfrm>
        </p:spPr>
        <p:txBody>
          <a:bodyPr numCol="1">
            <a:normAutofit/>
          </a:bodyPr>
          <a:lstStyle/>
          <a:p>
            <a:pPr>
              <a:lnSpc>
                <a:spcPct val="100000"/>
              </a:lnSpc>
              <a:buClr>
                <a:srgbClr val="C00000"/>
              </a:buClr>
            </a:pPr>
            <a:endParaRPr lang="en-US" sz="1400" dirty="0"/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Incorporate disparate information streams into prediction </a:t>
            </a:r>
            <a:r>
              <a:rPr lang="en-US" sz="1400" i="1" dirty="0">
                <a:sym typeface="Wingdings" pitchFamily="2" charset="2"/>
              </a:rPr>
              <a:t>distributions</a:t>
            </a:r>
          </a:p>
          <a:p>
            <a:pPr lvl="2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Translate probabilistically into buy and </a:t>
            </a:r>
            <a:r>
              <a:rPr lang="en-US" sz="1400" dirty="0">
                <a:solidFill>
                  <a:srgbClr val="C00000"/>
                </a:solidFill>
                <a:sym typeface="Wingdings" pitchFamily="2" charset="2"/>
              </a:rPr>
              <a:t>confidence interva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F270A535-08A7-834A-B86E-9A9544DAEBBB}"/>
              </a:ext>
            </a:extLst>
          </p:cNvPr>
          <p:cNvSpPr/>
          <p:nvPr/>
        </p:nvSpPr>
        <p:spPr bwMode="gray">
          <a:xfrm>
            <a:off x="4134031" y="3257550"/>
            <a:ext cx="1066800" cy="609600"/>
          </a:xfrm>
          <a:prstGeom prst="rightArrow">
            <a:avLst/>
          </a:prstGeom>
          <a:solidFill>
            <a:srgbClr val="2CD5C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sz="1400" cap="all" dirty="0">
              <a:latin typeface="+mj-lt"/>
              <a:cs typeface="AdihausDIN" panose="020B0504020101020102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3E68C3-DDB1-C141-9A3D-F202C4DA47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0" y="2114550"/>
            <a:ext cx="3667904" cy="273760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AAB1E92-9622-5E44-AF31-E889A5153A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646" y="2114550"/>
            <a:ext cx="3665618" cy="2751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027882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Framework extensions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Evaluate prediction distributions</a:t>
            </a:r>
            <a:br>
              <a:rPr lang="en-US" sz="2400" dirty="0">
                <a:solidFill>
                  <a:schemeClr val="accent6"/>
                </a:solidFill>
              </a:rPr>
            </a:b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Calibration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Weatherman: 40% chance of rain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How often does it rain when he says 40% chance? 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.g. predict N(1000, 100) – observe 1150 =  1.5 standardized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Kolmogorov-Smirnov test</a:t>
            </a: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EF37006-59FA-1A4B-B309-D547AA31D9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7991" y="1336461"/>
            <a:ext cx="4477233" cy="319109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6B86DFB-0677-834F-B53F-4250081E16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3860" y="3660549"/>
            <a:ext cx="1915564" cy="1414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824785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optimizing overestimation</a:t>
            </a:r>
            <a:br>
              <a:rPr lang="en-US" sz="2400" dirty="0">
                <a:solidFill>
                  <a:srgbClr val="C00000"/>
                </a:solidFill>
              </a:rPr>
            </a:br>
            <a:r>
              <a:rPr lang="en-US" sz="2400" dirty="0">
                <a:solidFill>
                  <a:srgbClr val="C00000"/>
                </a:solidFill>
              </a:rPr>
              <a:t>(SUPPLEMENTAL SLIDE)</a:t>
            </a:r>
            <a:br>
              <a:rPr lang="en-US" sz="2400" dirty="0">
                <a:solidFill>
                  <a:schemeClr val="accent6"/>
                </a:solidFill>
              </a:rPr>
            </a:b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E5CA33FE-16F9-7F48-BA4D-F8CA50A6E268}"/>
                  </a:ext>
                </a:extLst>
              </p:cNvPr>
              <p:cNvSpPr>
                <a:spLocks noGrp="1"/>
              </p:cNvSpPr>
              <p:nvPr>
                <p:ph type="body" sz="quarter" idx="25"/>
              </p:nvPr>
            </p:nvSpPr>
            <p:spPr>
              <a:xfrm>
                <a:off x="582660" y="1047750"/>
                <a:ext cx="7430189" cy="4038600"/>
              </a:xfrm>
            </p:spPr>
            <p:txBody>
              <a:bodyPr numCol="2">
                <a:normAutofit/>
              </a:bodyPr>
              <a:lstStyle/>
              <a:p>
                <a:pPr>
                  <a:lnSpc>
                    <a:spcPct val="100000"/>
                  </a:lnSpc>
                </a:pPr>
                <a:endParaRPr lang="en-US" sz="1400" dirty="0"/>
              </a:p>
              <a:p>
                <a:pPr>
                  <a:lnSpc>
                    <a:spcPct val="15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Minimiz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400" b="0" i="0" smtClean="0">
                        <a:latin typeface="Cambria Math" panose="02040503050406030204" pitchFamily="18" charset="0"/>
                        <a:sym typeface="Wingdings" pitchFamily="2" charset="2"/>
                      </a:rPr>
                      <m:t>E</m:t>
                    </m:r>
                    <m:d>
                      <m:dPr>
                        <m:begChr m:val="["/>
                        <m:endChr m:val="]"/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sz="1400" b="0" i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L</m:t>
                        </m:r>
                      </m:e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𝑏</m:t>
                        </m:r>
                      </m:e>
                    </m:d>
                  </m:oMath>
                </a14:m>
                <a:r>
                  <a:rPr lang="en-US" sz="1400" dirty="0">
                    <a:sym typeface="Wingdings" pitchFamily="2" charset="2"/>
                  </a:rPr>
                  <a:t>. --- expected value of loss function --- over all b</a:t>
                </a:r>
              </a:p>
              <a:p>
                <a:pPr>
                  <a:lnSpc>
                    <a:spcPct val="15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Normal density f</a:t>
                </a:r>
              </a:p>
              <a:p>
                <a:pPr lvl="1">
                  <a:lnSpc>
                    <a:spcPct val="15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Mea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𝜇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 (our prediction)</a:t>
                </a:r>
              </a:p>
              <a:p>
                <a:pPr lvl="1">
                  <a:lnSpc>
                    <a:spcPct val="15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Confidence-informe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𝜎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, </a:t>
                </a:r>
              </a:p>
              <a:p>
                <a:pPr>
                  <a:lnSpc>
                    <a:spcPct val="15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Expected value of loss function:</a:t>
                </a:r>
              </a:p>
              <a:p>
                <a:pPr>
                  <a:lnSpc>
                    <a:spcPct val="150000"/>
                  </a:lnSpc>
                  <a:buClr>
                    <a:srgbClr val="C00000"/>
                  </a:buClr>
                </a:pPr>
                <a:endParaRPr lang="en-US" sz="1400" dirty="0">
                  <a:sym typeface="Wingdings" pitchFamily="2" charset="2"/>
                </a:endParaRPr>
              </a:p>
              <a:p>
                <a:pPr>
                  <a:lnSpc>
                    <a:spcPct val="150000"/>
                  </a:lnSpc>
                  <a:buClr>
                    <a:srgbClr val="C00000"/>
                  </a:buClr>
                </a:pPr>
                <a:endParaRPr lang="en-US" sz="1400" dirty="0">
                  <a:sym typeface="Wingdings" pitchFamily="2" charset="2"/>
                </a:endParaRPr>
              </a:p>
              <a:p>
                <a:pPr>
                  <a:lnSpc>
                    <a:spcPct val="15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Minimize over buy quantit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𝑏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0</m:t>
                        </m:r>
                      </m:sub>
                    </m:sSub>
                  </m:oMath>
                </a14:m>
                <a:endParaRPr lang="en-US" sz="1400" dirty="0">
                  <a:sym typeface="Wingdings" pitchFamily="2" charset="2"/>
                </a:endParaRPr>
              </a:p>
            </p:txBody>
          </p:sp>
        </mc:Choice>
        <mc:Fallback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E5CA33FE-16F9-7F48-BA4D-F8CA50A6E2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5"/>
              </p:nvPr>
            </p:nvSpPr>
            <p:spPr>
              <a:xfrm>
                <a:off x="582660" y="1047750"/>
                <a:ext cx="7430189" cy="4038600"/>
              </a:xfrm>
              <a:blipFill>
                <a:blip r:embed="rId2"/>
                <a:stretch>
                  <a:fillRect l="-68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D034438-E481-DB4C-BC65-6DE6CB2FDD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3562350"/>
            <a:ext cx="2698750" cy="8566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E91CB83-D636-C94F-B920-4DEFEEB659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8905" y="1709581"/>
            <a:ext cx="3733800" cy="2702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577492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optimizing overestima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How can we maximize profits per article given cost/margin asymmetry? 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I propose a framework and solution 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Incorporate our prediction </a:t>
            </a:r>
            <a:r>
              <a:rPr lang="en-US" sz="1400" b="1" dirty="0">
                <a:sym typeface="Wingdings" pitchFamily="2" charset="2"/>
              </a:rPr>
              <a:t>and</a:t>
            </a:r>
            <a:r>
              <a:rPr lang="en-US" sz="1400" dirty="0">
                <a:sym typeface="Wingdings" pitchFamily="2" charset="2"/>
              </a:rPr>
              <a:t> uncertainty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Incorporate article margin and cost</a:t>
            </a:r>
            <a:endParaRPr lang="en-US" sz="1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60E966-CB3D-CA44-A8D5-0E9D7B0EAF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8863" y="2961919"/>
            <a:ext cx="3790173" cy="166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74238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Optimizing overestimation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Prediction distribu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842963"/>
            <a:ext cx="7430189" cy="4243387"/>
          </a:xfrm>
        </p:spPr>
        <p:txBody>
          <a:bodyPr numCol="1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Suppose we predict these Stan Smiths (G27706) will sell 38000 units 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We make our prediction as a distribution, rather than point estimate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This more accurately reflects reality, and statistical modelling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A distribution incorporates a degree of confidence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DAA, buyers, tea leaves, crystal ball, Artem</a:t>
            </a:r>
          </a:p>
          <a:p>
            <a:pPr lvl="1"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A893309-A60C-9046-8CA4-A72D701946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3000" y="2964656"/>
            <a:ext cx="3674636" cy="1617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324226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Optimizing overestimation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Prediction distribu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Our prediction as the mean.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Standard deviation reflects confidence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Base on model, buyers, article, etc.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Here use Normal(38000, 7000)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 95% confident net demand qty will be between 24000 and 52000.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Flexibility/versatility in choosing distribution, mean, and variance.</a:t>
            </a: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B8EEB2-37BA-0944-85B4-FFC06E3838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3400" y="1809750"/>
            <a:ext cx="4537495" cy="2367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45364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4606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Optimizing overestimation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Loss functi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842963"/>
            <a:ext cx="7430189" cy="4243387"/>
          </a:xfrm>
        </p:spPr>
        <p:txBody>
          <a:bodyPr numCol="2">
            <a:normAutofit lnSpcReduction="10000"/>
          </a:bodyPr>
          <a:lstStyle/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dirty="0">
                <a:sym typeface="Wingdings" pitchFamily="2" charset="2"/>
              </a:rPr>
              <a:t>Buy: b units</a:t>
            </a: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dirty="0">
                <a:sym typeface="Wingdings" pitchFamily="2" charset="2"/>
              </a:rPr>
              <a:t>Demand: d units</a:t>
            </a: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dirty="0">
                <a:sym typeface="Wingdings" pitchFamily="2" charset="2"/>
              </a:rPr>
              <a:t>Define Loss function:</a:t>
            </a:r>
          </a:p>
          <a:p>
            <a:pPr marL="40050" indent="0">
              <a:lnSpc>
                <a:spcPct val="200000"/>
              </a:lnSpc>
              <a:buClr>
                <a:srgbClr val="C00000"/>
              </a:buClr>
              <a:buNone/>
            </a:pPr>
            <a:endParaRPr lang="en-US" dirty="0">
              <a:sym typeface="Wingdings" pitchFamily="2" charset="2"/>
            </a:endParaRPr>
          </a:p>
          <a:p>
            <a:pPr>
              <a:lnSpc>
                <a:spcPct val="200000"/>
              </a:lnSpc>
              <a:buClr>
                <a:srgbClr val="C00000"/>
              </a:buClr>
            </a:pPr>
            <a:endParaRPr lang="en-US" dirty="0">
              <a:sym typeface="Wingdings" pitchFamily="2" charset="2"/>
            </a:endParaRP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dirty="0">
                <a:sym typeface="Wingdings" pitchFamily="2" charset="2"/>
              </a:rPr>
              <a:t>Loss function in words: 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dirty="0">
                <a:sym typeface="Wingdings" pitchFamily="2" charset="2"/>
              </a:rPr>
              <a:t>Underprediction: margin times number of </a:t>
            </a:r>
            <a:r>
              <a:rPr lang="en-US" i="1" dirty="0">
                <a:sym typeface="Wingdings" pitchFamily="2" charset="2"/>
              </a:rPr>
              <a:t>missed </a:t>
            </a:r>
            <a:r>
              <a:rPr lang="en-US" dirty="0">
                <a:sym typeface="Wingdings" pitchFamily="2" charset="2"/>
              </a:rPr>
              <a:t>sales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dirty="0">
                <a:sym typeface="Wingdings" pitchFamily="2" charset="2"/>
              </a:rPr>
              <a:t>Overprediction: cost times each article leftover</a:t>
            </a:r>
          </a:p>
          <a:p>
            <a:pPr lvl="1"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marL="400050" lvl="1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0A7B3F-29C3-B048-B06D-2B45806401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1151" y="2232664"/>
            <a:ext cx="2927718" cy="6781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55A420B-30C3-934D-95E2-5D527952DE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4406" y="1685447"/>
            <a:ext cx="4220818" cy="2202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679889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4606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prediction distributions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framework summary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200000"/>
              </a:lnSpc>
              <a:buClr>
                <a:srgbClr val="C00000"/>
              </a:buClr>
              <a:buSzPct val="94000"/>
            </a:pPr>
            <a:r>
              <a:rPr lang="en-US" b="1" dirty="0">
                <a:sym typeface="Wingdings" pitchFamily="2" charset="2"/>
              </a:rPr>
              <a:t>Prediction distribution </a:t>
            </a:r>
            <a:r>
              <a:rPr lang="en-US" dirty="0">
                <a:sym typeface="Wingdings" pitchFamily="2" charset="2"/>
              </a:rPr>
              <a:t>incorporates uncertainty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  <a:buSzPct val="94000"/>
            </a:pPr>
            <a:r>
              <a:rPr lang="en-US" dirty="0">
                <a:sym typeface="Wingdings" pitchFamily="2" charset="2"/>
              </a:rPr>
              <a:t>Cannot realistically expect any one outcome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  <a:buSzPct val="94000"/>
            </a:pPr>
            <a:r>
              <a:rPr lang="en-US" dirty="0">
                <a:sym typeface="Wingdings" pitchFamily="2" charset="2"/>
              </a:rPr>
              <a:t>Many possible outcomes, with associated *probabilities*</a:t>
            </a:r>
          </a:p>
          <a:p>
            <a:pPr>
              <a:lnSpc>
                <a:spcPct val="200000"/>
              </a:lnSpc>
              <a:buClr>
                <a:srgbClr val="C00000"/>
              </a:buClr>
              <a:buSzPct val="94000"/>
            </a:pPr>
            <a:r>
              <a:rPr lang="en-US" b="1" dirty="0">
                <a:sym typeface="Wingdings" pitchFamily="2" charset="2"/>
              </a:rPr>
              <a:t>Loss function </a:t>
            </a:r>
            <a:r>
              <a:rPr lang="en-US" dirty="0">
                <a:sym typeface="Wingdings" pitchFamily="2" charset="2"/>
              </a:rPr>
              <a:t>--</a:t>
            </a:r>
            <a:r>
              <a:rPr lang="en-US" b="1" dirty="0">
                <a:sym typeface="Wingdings" pitchFamily="2" charset="2"/>
              </a:rPr>
              <a:t> </a:t>
            </a:r>
            <a:r>
              <a:rPr lang="en-US" dirty="0">
                <a:sym typeface="Wingdings" pitchFamily="2" charset="2"/>
              </a:rPr>
              <a:t>calculate the cost of under/over prediction for article with cost and margin</a:t>
            </a:r>
          </a:p>
          <a:p>
            <a:pPr>
              <a:lnSpc>
                <a:spcPct val="200000"/>
              </a:lnSpc>
              <a:buClr>
                <a:srgbClr val="C00000"/>
              </a:buClr>
              <a:buSzPct val="94000"/>
            </a:pPr>
            <a:r>
              <a:rPr lang="en-US" b="1" dirty="0">
                <a:solidFill>
                  <a:srgbClr val="C00000"/>
                </a:solidFill>
                <a:sym typeface="Wingdings" pitchFamily="2" charset="2"/>
              </a:rPr>
              <a:t>Maximize profit: minimize expected value of loss function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  <a:buSzPct val="94000"/>
            </a:pPr>
            <a:r>
              <a:rPr lang="en-US" dirty="0">
                <a:sym typeface="Wingdings" pitchFamily="2" charset="2"/>
              </a:rPr>
              <a:t>Minimize loss function: predict/buy perfectly (with your crystal ball, on your unicorn)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  <a:buSzPct val="94000"/>
            </a:pPr>
            <a:r>
              <a:rPr lang="en-US" dirty="0">
                <a:sym typeface="Wingdings" pitchFamily="2" charset="2"/>
              </a:rPr>
              <a:t>Minimize the expected value of the loss function (with your degree) </a:t>
            </a:r>
            <a:endParaRPr lang="en-US" sz="1400" dirty="0">
              <a:sym typeface="Wingdings" pitchFamily="2" charset="2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marL="400050" lvl="1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804374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4606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prediction distributions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framework summary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276350"/>
            <a:ext cx="7430189" cy="3810000"/>
          </a:xfrm>
        </p:spPr>
        <p:txBody>
          <a:bodyPr numCol="1">
            <a:normAutofit/>
          </a:bodyPr>
          <a:lstStyle/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600" dirty="0">
                <a:sym typeface="Wingdings" pitchFamily="2" charset="2"/>
              </a:rPr>
              <a:t>Expected value is an integral  sum of losses weighted by their probability</a:t>
            </a: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600" dirty="0">
                <a:sym typeface="Wingdings" pitchFamily="2" charset="2"/>
              </a:rPr>
              <a:t>Each buy has an associated expected loss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600" dirty="0">
                <a:sym typeface="Wingdings" pitchFamily="2" charset="2"/>
              </a:rPr>
              <a:t>“Expected” -- on average, in the long run, if history repeated many times</a:t>
            </a: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600" dirty="0">
                <a:sym typeface="Wingdings" pitchFamily="2" charset="2"/>
              </a:rPr>
              <a:t>Buy the number of units that minimizes expected losses </a:t>
            </a:r>
            <a:endParaRPr lang="en-US" sz="1400" dirty="0">
              <a:sym typeface="Wingdings" pitchFamily="2" charset="2"/>
            </a:endParaRPr>
          </a:p>
          <a:p>
            <a:pPr lvl="1"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marL="400050" lvl="1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1755067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Optimizing overestimation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Minimize Expected loss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Recall, Stan Smith prediction distribution: </a:t>
            </a:r>
          </a:p>
          <a:p>
            <a:pPr lvl="1">
              <a:lnSpc>
                <a:spcPct val="150000"/>
              </a:lnSpc>
            </a:pPr>
            <a:r>
              <a:rPr lang="en-US" sz="1400" dirty="0" err="1">
                <a:sym typeface="Wingdings" pitchFamily="2" charset="2"/>
              </a:rPr>
              <a:t>net_qty</a:t>
            </a:r>
            <a:r>
              <a:rPr lang="en-US" sz="1400" dirty="0">
                <a:sym typeface="Wingdings" pitchFamily="2" charset="2"/>
              </a:rPr>
              <a:t> ~ N(38000, 7000)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Margin = €65.80, cost = €4.20.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Buying 48900 units maximizes expected profits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Current approach: “20% buffer”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ym typeface="Wingdings" pitchFamily="2" charset="2"/>
              </a:rPr>
              <a:t> €8127 expected increase in profit for this article</a:t>
            </a:r>
          </a:p>
          <a:p>
            <a:pPr marL="40050" indent="0">
              <a:lnSpc>
                <a:spcPct val="150000"/>
              </a:lnSpc>
              <a:buNone/>
            </a:pPr>
            <a:endParaRPr lang="en-US" sz="1400" dirty="0">
              <a:sym typeface="Wingdings" pitchFamily="2" charset="2"/>
            </a:endParaRPr>
          </a:p>
          <a:p>
            <a:pPr>
              <a:lnSpc>
                <a:spcPct val="150000"/>
              </a:lnSpc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0BF24C-A8D6-6742-B3DB-39D8D71004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5885" y="2742944"/>
            <a:ext cx="3434109" cy="22383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DCD217C-FB78-0343-9ADD-502791943E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4431" y="873612"/>
            <a:ext cx="3379740" cy="1763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833007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>
              <a:buClr>
                <a:srgbClr val="C00000"/>
              </a:buClr>
            </a:pPr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Distribution framework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buClr>
                <a:srgbClr val="C00000"/>
              </a:buClr>
              <a:defRPr/>
            </a:pPr>
            <a:fld id="{66C8B3C2-955F-42B1-8DED-EE47D723596C}" type="slidenum">
              <a:rPr lang="en-US" smtClean="0"/>
              <a:pPr>
                <a:buClr>
                  <a:srgbClr val="C00000"/>
                </a:buClr>
                <a:defRPr/>
              </a:pPr>
              <a:t>9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100000"/>
              </a:lnSpc>
              <a:buClr>
                <a:srgbClr val="C00000"/>
              </a:buClr>
            </a:pPr>
            <a:endParaRPr lang="en-US" sz="1400" dirty="0"/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What if we adopt this framework more broadly?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All predictions as distributions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Additional benefits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Asymmetric/skewed distributions</a:t>
            </a:r>
          </a:p>
          <a:p>
            <a:pPr lvl="2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.g. marketing campaigns with large upside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asier to incorporate disparate information into single distribution than prediction, and that translates probabilistically into a buy number to maximize profits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valuate predictions: comparing distributions is easy </a:t>
            </a:r>
          </a:p>
          <a:p>
            <a:pPr lvl="2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predictions vs. empiric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buClr>
                <a:srgbClr val="C00000"/>
              </a:buClr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257597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9dda88443082203f79f77cdab4a4d557b43c7db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0921_Digital_Analytics_Template">
  <a:themeElements>
    <a:clrScheme name="Digital Analytics 1">
      <a:dk1>
        <a:srgbClr val="000000"/>
      </a:dk1>
      <a:lt1>
        <a:srgbClr val="FFFFFF"/>
      </a:lt1>
      <a:dk2>
        <a:srgbClr val="D6D6D6"/>
      </a:dk2>
      <a:lt2>
        <a:srgbClr val="FFFFFF"/>
      </a:lt2>
      <a:accent1>
        <a:srgbClr val="04D5C3"/>
      </a:accent1>
      <a:accent2>
        <a:srgbClr val="F9413A"/>
      </a:accent2>
      <a:accent3>
        <a:srgbClr val="009638"/>
      </a:accent3>
      <a:accent4>
        <a:srgbClr val="5BC2E7"/>
      </a:accent4>
      <a:accent5>
        <a:srgbClr val="FEDD00"/>
      </a:accent5>
      <a:accent6>
        <a:srgbClr val="3078E2"/>
      </a:accent6>
      <a:hlink>
        <a:srgbClr val="000000"/>
      </a:hlink>
      <a:folHlink>
        <a:srgbClr val="000000"/>
      </a:folHlink>
    </a:clrScheme>
    <a:fontScheme name="Custom 1">
      <a:majorFont>
        <a:latin typeface="adineue PRO TT Black"/>
        <a:ea typeface=""/>
        <a:cs typeface=""/>
      </a:majorFont>
      <a:minorFont>
        <a:latin typeface="adineue PRO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2CD5C4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0"/>
          </a:spcBef>
          <a:defRPr sz="1400" cap="all" dirty="0" smtClean="0">
            <a:latin typeface="+mj-lt"/>
            <a:cs typeface="AdihausDIN" panose="020B050402010102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28575" cmpd="sng">
          <a:solidFill>
            <a:srgbClr val="2CD5C4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  <a:ln w="12700" cap="sq">
          <a:noFill/>
          <a:miter lim="800000"/>
        </a:ln>
      </a:spPr>
      <a:bodyPr vert="horz" wrap="none" lIns="0" tIns="0" rIns="0" bIns="0" rtlCol="0" anchor="t" anchorCtr="0">
        <a:noAutofit/>
      </a:bodyPr>
      <a:lstStyle>
        <a:defPPr>
          <a:lnSpc>
            <a:spcPct val="90000"/>
          </a:lnSpc>
          <a:defRPr sz="1200" dirty="0" smtClean="0">
            <a:latin typeface="AdihausDIN" panose="020B0504020101020102" pitchFamily="34" charset="0"/>
            <a:cs typeface="AdihausDIN" panose="020B0504020101020102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70921_Digital_Analytics_Template" id="{16EF9967-9395-5444-9C97-DFF82C54F1DD}" vid="{FE673D85-9B1C-6D43-87B3-28F6E0466FEF}"/>
    </a:ext>
  </a:extLst>
</a:theme>
</file>

<file path=ppt/theme/theme2.xml><?xml version="1.0" encoding="utf-8"?>
<a:theme xmlns:a="http://schemas.openxmlformats.org/drawingml/2006/main" name="Office Theme">
  <a:themeElements>
    <a:clrScheme name="GBC 2015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00"/>
      </a:accent1>
      <a:accent2>
        <a:srgbClr val="404040"/>
      </a:accent2>
      <a:accent3>
        <a:srgbClr val="EA5649"/>
      </a:accent3>
      <a:accent4>
        <a:srgbClr val="6AB1AA"/>
      </a:accent4>
      <a:accent5>
        <a:srgbClr val="3E00C4"/>
      </a:accent5>
      <a:accent6>
        <a:srgbClr val="FCDD00"/>
      </a:accent6>
      <a:hlink>
        <a:srgbClr val="000000"/>
      </a:hlink>
      <a:folHlink>
        <a:srgbClr val="000000"/>
      </a:folHlink>
    </a:clrScheme>
    <a:fontScheme name="GBC 2015">
      <a:majorFont>
        <a:latin typeface="adineue PRO TT Black"/>
        <a:ea typeface=""/>
        <a:cs typeface=""/>
      </a:majorFont>
      <a:minorFont>
        <a:latin typeface="adineue PRO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miter lim="800000"/>
        </a:ln>
      </a:spPr>
      <a:bodyPr lIns="72000" tIns="72000" rIns="72000" bIns="72000" rtlCol="0" anchor="ctr"/>
      <a:lstStyle>
        <a:defPPr algn="ctr">
          <a:spcBef>
            <a:spcPts val="0"/>
          </a:spcBef>
          <a:defRPr sz="140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 bwMode="gray">
        <a:ln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Adidas (Sport)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00"/>
      </a:accent1>
      <a:accent2>
        <a:srgbClr val="969696"/>
      </a:accent2>
      <a:accent3>
        <a:srgbClr val="B71234"/>
      </a:accent3>
      <a:accent4>
        <a:srgbClr val="007934"/>
      </a:accent4>
      <a:accent5>
        <a:srgbClr val="0046AD"/>
      </a:accent5>
      <a:accent6>
        <a:srgbClr val="FFA100"/>
      </a:accent6>
      <a:hlink>
        <a:srgbClr val="000000"/>
      </a:hlink>
      <a:folHlink>
        <a:srgbClr val="000000"/>
      </a:folHlink>
    </a:clrScheme>
    <a:fontScheme name="adiNeue - AdihausDIN">
      <a:majorFont>
        <a:latin typeface="adiNeue2013 Bold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 w="12700" cap="sq">
          <a:solidFill>
            <a:schemeClr val="accent1"/>
          </a:solidFill>
          <a:miter lim="800000"/>
        </a:ln>
      </a:spPr>
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0"/>
          </a:spcBef>
          <a:defRPr sz="140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b" anchorCtr="0">
        <a:noAutofit/>
      </a:bodyPr>
      <a:lstStyle>
        <a:defPPr algn="l">
          <a:lnSpc>
            <a:spcPct val="90000"/>
          </a:lnSpc>
          <a:defRPr sz="2400" dirty="0" err="1" smtClean="0">
            <a:solidFill>
              <a:schemeClr val="accent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70921_Digital_Analytics_Template</Template>
  <TotalTime>54323</TotalTime>
  <Words>614</Words>
  <Application>Microsoft Macintosh PowerPoint</Application>
  <PresentationFormat>On-screen Show (16:9)</PresentationFormat>
  <Paragraphs>12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dihausDIN</vt:lpstr>
      <vt:lpstr>adineue PRO TT Black</vt:lpstr>
      <vt:lpstr>adineue PRO TT Light</vt:lpstr>
      <vt:lpstr>Cambria Math</vt:lpstr>
      <vt:lpstr>Symbol</vt:lpstr>
      <vt:lpstr>Wingdings</vt:lpstr>
      <vt:lpstr>20170921_Digital_Analytics_Template</vt:lpstr>
      <vt:lpstr>think-cell Slide</vt:lpstr>
      <vt:lpstr>Demand forecasting optimizing overestimation </vt:lpstr>
      <vt:lpstr>Demand forecasting optimizing overestimation </vt:lpstr>
      <vt:lpstr>Optimizing overestimation Prediction distribution </vt:lpstr>
      <vt:lpstr>Optimizing overestimation Prediction distribution </vt:lpstr>
      <vt:lpstr>Optimizing overestimation Loss function </vt:lpstr>
      <vt:lpstr>Demand prediction distributions framework summary </vt:lpstr>
      <vt:lpstr>Demand prediction distributions framework summary </vt:lpstr>
      <vt:lpstr>Optimizing overestimation Minimize Expected loss </vt:lpstr>
      <vt:lpstr>Demand forecasting Distribution framework </vt:lpstr>
      <vt:lpstr>Framework extensions skewed prediction distributions </vt:lpstr>
      <vt:lpstr>Framework extensions integrative prediction distributions  </vt:lpstr>
      <vt:lpstr>Framework extensions Evaluate prediction distributions  </vt:lpstr>
      <vt:lpstr>Demand forecasting optimizing overestimation (SUPPLEMENTAL SLIDE)  </vt:lpstr>
    </vt:vector>
  </TitlesOfParts>
  <Company>adida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emplate</dc:title>
  <dc:creator>Zhang, Yuchun</dc:creator>
  <cp:lastModifiedBy>Comiskey, Chris [External]</cp:lastModifiedBy>
  <cp:revision>618</cp:revision>
  <cp:lastPrinted>2019-03-27T13:46:10Z</cp:lastPrinted>
  <dcterms:created xsi:type="dcterms:W3CDTF">2017-11-15T09:49:52Z</dcterms:created>
  <dcterms:modified xsi:type="dcterms:W3CDTF">2019-06-21T07:39:47Z</dcterms:modified>
  <dc:language>English-UK</dc:language>
</cp:coreProperties>
</file>